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97" r:id="rId2"/>
    <p:sldId id="401" r:id="rId3"/>
    <p:sldId id="400" r:id="rId4"/>
    <p:sldId id="398" r:id="rId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9" autoAdjust="0"/>
    <p:restoredTop sz="94660"/>
  </p:normalViewPr>
  <p:slideViewPr>
    <p:cSldViewPr snapToGrid="0">
      <p:cViewPr varScale="1">
        <p:scale>
          <a:sx n="82" d="100"/>
          <a:sy n="82" d="100"/>
        </p:scale>
        <p:origin x="53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6" y="919706"/>
            <a:ext cx="11668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dirty="0" err="1"/>
              <a:t>결측치의</a:t>
            </a:r>
            <a:r>
              <a:rPr lang="ko-KR" altLang="en-US" dirty="0"/>
              <a:t> 비율이 </a:t>
            </a:r>
            <a:r>
              <a:rPr lang="en-US" altLang="ko-KR" dirty="0"/>
              <a:t>10%</a:t>
            </a:r>
            <a:r>
              <a:rPr lang="ko-KR" altLang="en-US" dirty="0"/>
              <a:t>정도로  </a:t>
            </a:r>
            <a:r>
              <a:rPr lang="ko-KR" altLang="en-US" dirty="0" err="1"/>
              <a:t>결측치인</a:t>
            </a:r>
            <a:r>
              <a:rPr lang="ko-KR" altLang="en-US" dirty="0"/>
              <a:t> 행의 비율도 </a:t>
            </a:r>
            <a:r>
              <a:rPr lang="ko-KR" altLang="en-US" dirty="0" err="1"/>
              <a:t>원데이터랑</a:t>
            </a:r>
            <a:r>
              <a:rPr lang="ko-KR" altLang="en-US" dirty="0"/>
              <a:t> 차이가 없고</a:t>
            </a:r>
            <a:r>
              <a:rPr lang="en-US" altLang="ko-KR" dirty="0"/>
              <a:t>, </a:t>
            </a:r>
          </a:p>
          <a:p>
            <a:pPr marL="285750" indent="-285750">
              <a:buFontTx/>
              <a:buChar char="-"/>
            </a:pPr>
            <a:r>
              <a:rPr lang="ko-KR" altLang="en-US" dirty="0"/>
              <a:t>원본 데이터를 해칠 일도 없다고 판단하여 </a:t>
            </a:r>
            <a:r>
              <a:rPr lang="ko-KR" altLang="en-US" dirty="0" err="1"/>
              <a:t>결측치</a:t>
            </a:r>
            <a:r>
              <a:rPr lang="ko-KR" altLang="en-US" dirty="0"/>
              <a:t> 제거함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627" y="1505623"/>
            <a:ext cx="9331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endParaRPr lang="ko-KR" altLang="en-US" sz="1600" kern="0" dirty="0">
              <a:solidFill>
                <a:srgbClr val="000000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634549"/>
              </p:ext>
            </p:extLst>
          </p:nvPr>
        </p:nvGraphicFramePr>
        <p:xfrm>
          <a:off x="774794" y="4418284"/>
          <a:ext cx="10251504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LOA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금액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/>
                        <a:t> 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MORTD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기존 모기지 금액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VAL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현재 자산 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AG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계좌 유지시간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월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있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 이상치 제거 </a:t>
                      </a:r>
                      <a:r>
                        <a:rPr lang="en-US" altLang="ko-KR" sz="1200" dirty="0"/>
                        <a:t>( 97</a:t>
                      </a:r>
                      <a:r>
                        <a:rPr lang="ko-KR" altLang="en-US" sz="1200" dirty="0"/>
                        <a:t>년 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 점수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부채비율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57A9940-DEB2-2594-401C-186221054BFC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연속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9C3A753E-F5E8-5AFD-EF8E-88D8F1953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819601"/>
              </p:ext>
            </p:extLst>
          </p:nvPr>
        </p:nvGraphicFramePr>
        <p:xfrm>
          <a:off x="641479" y="1778232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전체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03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7" name="표 16">
            <a:extLst>
              <a:ext uri="{FF2B5EF4-FFF2-40B4-BE49-F238E27FC236}">
                <a16:creationId xmlns:a16="http://schemas.microsoft.com/office/drawing/2014/main" id="{74CE9068-55AE-9A3C-8DE2-D51D8AF5D4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0218026"/>
              </p:ext>
            </p:extLst>
          </p:nvPr>
        </p:nvGraphicFramePr>
        <p:xfrm>
          <a:off x="3810809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 err="1"/>
                        <a:t>결측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39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FE2A9288-9091-9032-ECB5-B48BAF5A14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256069"/>
              </p:ext>
            </p:extLst>
          </p:nvPr>
        </p:nvGraphicFramePr>
        <p:xfrm>
          <a:off x="8101486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0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20" name="화살표: 오른쪽 19">
            <a:extLst>
              <a:ext uri="{FF2B5EF4-FFF2-40B4-BE49-F238E27FC236}">
                <a16:creationId xmlns:a16="http://schemas.microsoft.com/office/drawing/2014/main" id="{3408F643-9A2B-6C5B-E057-71E15A3B0947}"/>
              </a:ext>
            </a:extLst>
          </p:cNvPr>
          <p:cNvSpPr/>
          <p:nvPr/>
        </p:nvSpPr>
        <p:spPr>
          <a:xfrm>
            <a:off x="7147249" y="187495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E715C325-E66B-A260-6DF3-A521848AC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2830762"/>
            <a:ext cx="10393949" cy="909384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7D47F495-60A7-62D9-9813-43D3F5967B54}"/>
              </a:ext>
            </a:extLst>
          </p:cNvPr>
          <p:cNvSpPr/>
          <p:nvPr/>
        </p:nvSpPr>
        <p:spPr>
          <a:xfrm>
            <a:off x="7772400" y="3344257"/>
            <a:ext cx="992459" cy="4266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934706-F052-BC91-DE84-921595710347}"/>
              </a:ext>
            </a:extLst>
          </p:cNvPr>
          <p:cNvSpPr txBox="1"/>
          <p:nvPr/>
        </p:nvSpPr>
        <p:spPr>
          <a:xfrm>
            <a:off x="638067" y="2653221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800" dirty="0"/>
              <a:t>CL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pic>
        <p:nvPicPr>
          <p:cNvPr id="7" name="그림 6" descr="텍스트, 스크린샷, 직사각형, 디스플레이이(가) 표시된 사진&#10;&#10;자동 생성된 설명">
            <a:extLst>
              <a:ext uri="{FF2B5EF4-FFF2-40B4-BE49-F238E27FC236}">
                <a16:creationId xmlns:a16="http://schemas.microsoft.com/office/drawing/2014/main" id="{970AC9EE-5480-7525-F690-F34EB8B380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0" y="2321377"/>
            <a:ext cx="3927835" cy="3171364"/>
          </a:xfrm>
          <a:prstGeom prst="rect">
            <a:avLst/>
          </a:prstGeom>
        </p:spPr>
      </p:pic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C2CE088C-4D67-70CD-4DFD-A3FF1D3218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211021"/>
              </p:ext>
            </p:extLst>
          </p:nvPr>
        </p:nvGraphicFramePr>
        <p:xfrm>
          <a:off x="7037797" y="3651480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99 (</a:t>
                      </a:r>
                      <a:r>
                        <a:rPr lang="ko-KR" altLang="en-US" dirty="0"/>
                        <a:t>이상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A8E85FDF-D440-77F0-CEE5-C88159D9E636}"/>
              </a:ext>
            </a:extLst>
          </p:cNvPr>
          <p:cNvSpPr/>
          <p:nvPr/>
        </p:nvSpPr>
        <p:spPr>
          <a:xfrm>
            <a:off x="5599625" y="377693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7FD15B-486D-9025-104E-89AC83E35FE4}"/>
              </a:ext>
            </a:extLst>
          </p:cNvPr>
          <p:cNvSpPr txBox="1"/>
          <p:nvPr/>
        </p:nvSpPr>
        <p:spPr>
          <a:xfrm>
            <a:off x="858770" y="1770136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이상치 제거</a:t>
            </a:r>
          </a:p>
        </p:txBody>
      </p:sp>
    </p:spTree>
    <p:extLst>
      <p:ext uri="{BB962C8B-B14F-4D97-AF65-F5344CB8AC3E}">
        <p14:creationId xmlns:p14="http://schemas.microsoft.com/office/powerpoint/2010/main" val="2452989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7BAE41F2-3D41-38BD-1073-449BA3D42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3E9113-9E38-F85F-87F9-F65F558BA9AD}"/>
              </a:ext>
            </a:extLst>
          </p:cNvPr>
          <p:cNvSpPr txBox="1"/>
          <p:nvPr/>
        </p:nvSpPr>
        <p:spPr>
          <a:xfrm>
            <a:off x="7322728" y="3362721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ko-KR" dirty="0">
              <a:solidFill>
                <a:srgbClr val="1D1C1D"/>
              </a:solidFill>
              <a:highlight>
                <a:srgbClr val="F8F8F8"/>
              </a:highlight>
              <a:latin typeface="NotoSansKR"/>
            </a:endParaRPr>
          </a:p>
          <a:p>
            <a:pPr marL="285750" indent="-285750">
              <a:buFontTx/>
              <a:buChar char="-"/>
            </a:pPr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DEROG  0, 1, 2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이상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으로 분배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 </a:t>
            </a:r>
          </a:p>
        </p:txBody>
      </p:sp>
      <p:pic>
        <p:nvPicPr>
          <p:cNvPr id="24" name="그림 23" descr="텍스트, 스크린샷, 직사각형, 그래프이(가) 표시된 사진&#10;&#10;자동 생성된 설명">
            <a:extLst>
              <a:ext uri="{FF2B5EF4-FFF2-40B4-BE49-F238E27FC236}">
                <a16:creationId xmlns:a16="http://schemas.microsoft.com/office/drawing/2014/main" id="{05EE74D5-3228-1521-C9F1-EC335A31AA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997" y="865220"/>
            <a:ext cx="5467350" cy="2716180"/>
          </a:xfrm>
          <a:prstGeom prst="rect">
            <a:avLst/>
          </a:prstGeom>
        </p:spPr>
      </p:pic>
      <p:graphicFrame>
        <p:nvGraphicFramePr>
          <p:cNvPr id="25" name="Group 4">
            <a:extLst>
              <a:ext uri="{FF2B5EF4-FFF2-40B4-BE49-F238E27FC236}">
                <a16:creationId xmlns:a16="http://schemas.microsoft.com/office/drawing/2014/main" id="{2E7B0360-157D-A330-B7F8-FB9EB3DE0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14063"/>
              </p:ext>
            </p:extLst>
          </p:nvPr>
        </p:nvGraphicFramePr>
        <p:xfrm>
          <a:off x="792330" y="4465944"/>
          <a:ext cx="5456070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 BA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 상환여부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8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REASO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목적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JOB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직업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YOJ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 연차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ROG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주요 손실 내용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F68F258-BF8F-3CF7-8753-D64D063CF1D1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범주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pic>
        <p:nvPicPr>
          <p:cNvPr id="28" name="그림 27" descr="도표, 그래프, 스크린샷, 라인이(가) 표시된 사진&#10;&#10;자동 생성된 설명">
            <a:extLst>
              <a:ext uri="{FF2B5EF4-FFF2-40B4-BE49-F238E27FC236}">
                <a16:creationId xmlns:a16="http://schemas.microsoft.com/office/drawing/2014/main" id="{9B6E5295-B023-B8F6-EDCB-F200B91BB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1034823"/>
            <a:ext cx="4667250" cy="240405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1228F1F-71B3-7F23-A446-13FC953E7065}"/>
              </a:ext>
            </a:extLst>
          </p:cNvPr>
          <p:cNvSpPr txBox="1"/>
          <p:nvPr/>
        </p:nvSpPr>
        <p:spPr>
          <a:xfrm>
            <a:off x="1654392" y="3438882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YOJ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를 연속형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7316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D7072209-C51C-BF67-7703-5E3992036D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591645"/>
              </p:ext>
            </p:extLst>
          </p:nvPr>
        </p:nvGraphicFramePr>
        <p:xfrm>
          <a:off x="409720" y="1777590"/>
          <a:ext cx="11372560" cy="2850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7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5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01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54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들의 분포 특성 및 이상치 여부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gra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모기지 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자산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연속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unt plo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목적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손실 내용 빈도 등 범주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상환 여부에 영향을 미치는 인자 도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wo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mple t-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연속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box plot )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square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범주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heat map )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23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수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점수와 대출금액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계좌 유지기간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부채비율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</TotalTime>
  <Words>304</Words>
  <Application>Microsoft Office PowerPoint</Application>
  <PresentationFormat>와이드스크린</PresentationFormat>
  <Paragraphs>132</Paragraphs>
  <Slides>4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9" baseType="lpstr">
      <vt:lpstr>NotoSansKR</vt:lpstr>
      <vt:lpstr>맑은 고딕</vt:lpstr>
      <vt:lpstr>Arial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44</cp:lastModifiedBy>
  <cp:revision>45</cp:revision>
  <dcterms:created xsi:type="dcterms:W3CDTF">2023-11-18T01:07:46Z</dcterms:created>
  <dcterms:modified xsi:type="dcterms:W3CDTF">2024-07-22T08:30:46Z</dcterms:modified>
</cp:coreProperties>
</file>